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4" r:id="rId2"/>
    <p:sldMasterId id="2147483690" r:id="rId3"/>
    <p:sldMasterId id="2147483699" r:id="rId4"/>
    <p:sldMasterId id="2147483739" r:id="rId5"/>
    <p:sldMasterId id="2147483842" r:id="rId6"/>
  </p:sldMasterIdLst>
  <p:notesMasterIdLst>
    <p:notesMasterId r:id="rId19"/>
  </p:notesMasterIdLst>
  <p:handoutMasterIdLst>
    <p:handoutMasterId r:id="rId20"/>
  </p:handoutMasterIdLst>
  <p:sldIdLst>
    <p:sldId id="647" r:id="rId7"/>
    <p:sldId id="634" r:id="rId8"/>
    <p:sldId id="648" r:id="rId9"/>
    <p:sldId id="649" r:id="rId10"/>
    <p:sldId id="650" r:id="rId11"/>
    <p:sldId id="651" r:id="rId12"/>
    <p:sldId id="652" r:id="rId13"/>
    <p:sldId id="653" r:id="rId14"/>
    <p:sldId id="654" r:id="rId15"/>
    <p:sldId id="655" r:id="rId16"/>
    <p:sldId id="656" r:id="rId17"/>
    <p:sldId id="582" r:id="rId18"/>
  </p:sldIdLst>
  <p:sldSz cx="9144000" cy="6858000" type="screen4x3"/>
  <p:notesSz cx="6797675" cy="9926638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FF2A"/>
    <a:srgbClr val="002060"/>
    <a:srgbClr val="DA2D22"/>
    <a:srgbClr val="BD272B"/>
    <a:srgbClr val="BC2629"/>
    <a:srgbClr val="C52828"/>
    <a:srgbClr val="B8252B"/>
    <a:srgbClr val="DD2E21"/>
    <a:srgbClr val="B72329"/>
    <a:srgbClr val="D32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Format med tema 2 - dekorfär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Ljust format 3 - Dekorfärg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6866" autoAdjust="0"/>
  </p:normalViewPr>
  <p:slideViewPr>
    <p:cSldViewPr>
      <p:cViewPr varScale="1">
        <p:scale>
          <a:sx n="70" d="100"/>
          <a:sy n="70" d="100"/>
        </p:scale>
        <p:origin x="108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285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kalkylblad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 err="1"/>
              <a:t>Miljarder</a:t>
            </a:r>
            <a:r>
              <a:rPr lang="en-US" dirty="0"/>
              <a:t> kronor</a:t>
            </a:r>
          </a:p>
          <a:p>
            <a:pPr>
              <a:defRPr/>
            </a:pPr>
            <a:endParaRPr lang="en-US" dirty="0"/>
          </a:p>
        </c:rich>
      </c:tx>
      <c:layout>
        <c:manualLayout>
          <c:xMode val="edge"/>
          <c:yMode val="edge"/>
          <c:x val="0.17628624052665173"/>
          <c:y val="2.80603266089448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Blad1!$C$1</c:f>
              <c:strCache>
                <c:ptCount val="1"/>
                <c:pt idx="0">
                  <c:v>NNK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Blad1!$A$2:$A$5</c:f>
              <c:strCache>
                <c:ptCount val="2"/>
                <c:pt idx="0">
                  <c:v>Kostnad miljarder</c:v>
                </c:pt>
                <c:pt idx="1">
                  <c:v>Nytta miljarder</c:v>
                </c:pt>
              </c:strCache>
            </c:strRef>
          </c:cat>
          <c:val>
            <c:numRef>
              <c:f>Blad1!$C$2:$C$5</c:f>
              <c:numCache>
                <c:formatCode>General</c:formatCode>
                <c:ptCount val="4"/>
                <c:pt idx="0">
                  <c:v>12</c:v>
                </c:pt>
                <c:pt idx="1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2979824"/>
        <c:axId val="352977864"/>
      </c:barChart>
      <c:catAx>
        <c:axId val="352979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52977864"/>
        <c:crosses val="autoZero"/>
        <c:auto val="0"/>
        <c:lblAlgn val="ctr"/>
        <c:lblOffset val="100"/>
        <c:noMultiLvlLbl val="0"/>
      </c:catAx>
      <c:valAx>
        <c:axId val="352977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52979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62C750-6674-47AC-91E7-ABE967E5ACB2}" type="datetimeFigureOut">
              <a:rPr lang="sv-SE" smtClean="0"/>
              <a:pPr/>
              <a:t>2019-02-21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CCC333-DDA9-4862-B881-17726B227DA2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6994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F870D31-D9E6-4B35-A34D-6FEB666A7AFD}" type="datetimeFigureOut">
              <a:rPr lang="sv-SE"/>
              <a:pPr>
                <a:defRPr/>
              </a:pPr>
              <a:t>2019-02-2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v-SE" noProof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7FDB73F-5594-476D-8AF4-F3535E18424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75113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3286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FDB73F-5594-476D-8AF4-F3535E18424C}" type="slidenum">
              <a:rPr lang="sv-SE" smtClean="0"/>
              <a:pPr>
                <a:defRPr/>
              </a:pPr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3537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15659" t="17368" r="57779" b="1180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Garamond" pitchFamily="18" charset="0"/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Garamond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sv-S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rubrik + 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4"/>
            <a:ext cx="7776333" cy="54462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016709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48000" y="1385806"/>
            <a:ext cx="7776000" cy="499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ändra</a:t>
            </a:r>
            <a:r>
              <a:rPr lang="en-US" dirty="0"/>
              <a:t> </a:t>
            </a:r>
            <a:r>
              <a:rPr lang="en-US" dirty="0" err="1"/>
              <a:t>underrubrik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66133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två kolum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3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34000" y="1723203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65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7776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858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, två kolum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sv-SE" dirty="0"/>
              <a:t>Brödtext.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34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75964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77334" y="1723201"/>
            <a:ext cx="7717334" cy="3785777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4006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77333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19801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348567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3192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9904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58702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, punktlista och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321515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4000" y="1723201"/>
            <a:ext cx="3690000" cy="3785777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45890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er och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1"/>
          </p:nvPr>
        </p:nvSpPr>
        <p:spPr>
          <a:xfrm>
            <a:off x="5408614" y="1715916"/>
            <a:ext cx="3016250" cy="363502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/>
            </a:lvl1pPr>
          </a:lstStyle>
          <a:p>
            <a:endParaRPr lang="sv-SE" dirty="0"/>
          </a:p>
          <a:p>
            <a:r>
              <a:rPr lang="sv-SE" dirty="0"/>
              <a:t>Klicka för att lägga till bil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2" y="1723203"/>
            <a:ext cx="4626733" cy="146193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5368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2" y="1723203"/>
            <a:ext cx="3449867" cy="146193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Platshållare för diagram 3"/>
          <p:cNvSpPr>
            <a:spLocks noGrp="1"/>
          </p:cNvSpPr>
          <p:nvPr>
            <p:ph type="chart" sz="quarter" idx="11" hasCustomPrompt="1"/>
          </p:nvPr>
        </p:nvSpPr>
        <p:spPr>
          <a:xfrm>
            <a:off x="4097869" y="1722967"/>
            <a:ext cx="4326995" cy="369284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>
            <a:normAutofit/>
          </a:bodyPr>
          <a:lstStyle>
            <a:lvl1pPr marL="0" indent="0" algn="ctr">
              <a:lnSpc>
                <a:spcPts val="12000"/>
              </a:lnSpc>
              <a:buNone/>
              <a:defRPr lang="sv-SE" sz="1200" dirty="0"/>
            </a:lvl1pPr>
          </a:lstStyle>
          <a:p>
            <a:r>
              <a:rPr lang="sv-SE" dirty="0"/>
              <a:t>Klicka för att lägga till diagram</a:t>
            </a:r>
          </a:p>
        </p:txBody>
      </p:sp>
    </p:spTree>
    <p:extLst>
      <p:ext uri="{BB962C8B-B14F-4D97-AF65-F5344CB8AC3E}">
        <p14:creationId xmlns:p14="http://schemas.microsoft.com/office/powerpoint/2010/main" val="1563270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597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1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2165651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759876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28467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697059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40344049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753537"/>
            <a:ext cx="7412568" cy="714020"/>
          </a:xfrm>
          <a:prstGeom prst="rect">
            <a:avLst/>
          </a:prstGeom>
        </p:spPr>
        <p:txBody>
          <a:bodyPr vert="horz" wrap="none" lIns="90000" tIns="46800" bIns="46800"/>
          <a:lstStyle>
            <a:lvl1pPr marL="0" indent="0">
              <a:buNone/>
              <a:defRPr sz="26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Dagens</a:t>
            </a:r>
            <a:r>
              <a:rPr lang="en-US" dirty="0"/>
              <a:t> agenda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47699" y="1724369"/>
            <a:ext cx="7412568" cy="3626552"/>
          </a:xfrm>
          <a:prstGeom prst="rect">
            <a:avLst/>
          </a:prstGeom>
        </p:spPr>
        <p:txBody>
          <a:bodyPr vert="horz" wrap="none" lIns="108000" tIns="0" rIns="0" bIns="0"/>
          <a:lstStyle>
            <a:lvl1pPr marL="355600" indent="-504000">
              <a:lnSpc>
                <a:spcPts val="3300"/>
              </a:lnSpc>
              <a:spcBef>
                <a:spcPts val="600"/>
              </a:spcBef>
              <a:buClrTx/>
              <a:buSzPct val="120000"/>
              <a:buFontTx/>
              <a:buBlip>
                <a:blip r:embed="rId2"/>
              </a:buBlip>
              <a:tabLst/>
              <a:defRPr sz="2600" b="1">
                <a:solidFill>
                  <a:schemeClr val="bg1"/>
                </a:solidFill>
                <a:latin typeface="Arial"/>
                <a:cs typeface="Arial"/>
              </a:defRPr>
            </a:lvl1pPr>
            <a:lvl2pPr marL="355600" indent="-504000">
              <a:lnSpc>
                <a:spcPts val="3300"/>
              </a:lnSpc>
              <a:spcBef>
                <a:spcPts val="600"/>
              </a:spcBef>
              <a:buClr>
                <a:schemeClr val="accent1"/>
              </a:buClr>
              <a:buSzPct val="109000"/>
              <a:buFont typeface="Wingdings" panose="05000000000000000000" pitchFamily="2" charset="2"/>
              <a:buChar char=" "/>
              <a:tabLst/>
              <a:defRPr sz="2600" b="1">
                <a:solidFill>
                  <a:schemeClr val="accent2"/>
                </a:solidFill>
                <a:latin typeface="Arial"/>
                <a:cs typeface="Arial"/>
              </a:defRPr>
            </a:lvl2pPr>
          </a:lstStyle>
          <a:p>
            <a:pPr lvl="0"/>
            <a:r>
              <a:rPr lang="en-US" dirty="0" err="1"/>
              <a:t>Avsnitt</a:t>
            </a:r>
            <a:r>
              <a:rPr lang="en-US" dirty="0"/>
              <a:t> 1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2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3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2267161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753537"/>
            <a:ext cx="7412568" cy="714020"/>
          </a:xfrm>
          <a:prstGeom prst="rect">
            <a:avLst/>
          </a:prstGeom>
        </p:spPr>
        <p:txBody>
          <a:bodyPr vert="horz" wrap="none" lIns="90000" tIns="46800" bIns="46800"/>
          <a:lstStyle>
            <a:lvl1pPr marL="0" indent="0">
              <a:buNone/>
              <a:defRPr sz="26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Dagens</a:t>
            </a:r>
            <a:r>
              <a:rPr lang="en-US" dirty="0"/>
              <a:t> agenda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47699" y="1724369"/>
            <a:ext cx="7412568" cy="3626552"/>
          </a:xfrm>
          <a:prstGeom prst="rect">
            <a:avLst/>
          </a:prstGeom>
        </p:spPr>
        <p:txBody>
          <a:bodyPr vert="horz" wrap="none" lIns="108000" tIns="0" rIns="0" bIns="0"/>
          <a:lstStyle>
            <a:lvl1pPr marL="355600" indent="-504000">
              <a:lnSpc>
                <a:spcPts val="3300"/>
              </a:lnSpc>
              <a:spcBef>
                <a:spcPts val="600"/>
              </a:spcBef>
              <a:buClrTx/>
              <a:buSzPct val="120000"/>
              <a:buFontTx/>
              <a:buBlip>
                <a:blip r:embed="rId2"/>
              </a:buBlip>
              <a:tabLst/>
              <a:defRPr sz="2600" b="1">
                <a:solidFill>
                  <a:schemeClr val="bg1"/>
                </a:solidFill>
                <a:latin typeface="Arial"/>
                <a:cs typeface="Arial"/>
              </a:defRPr>
            </a:lvl1pPr>
            <a:lvl2pPr marL="355600" indent="-504000">
              <a:lnSpc>
                <a:spcPts val="3300"/>
              </a:lnSpc>
              <a:spcBef>
                <a:spcPts val="600"/>
              </a:spcBef>
              <a:buClr>
                <a:schemeClr val="accent1"/>
              </a:buClr>
              <a:buSzPct val="109000"/>
              <a:buFont typeface="Wingdings" panose="05000000000000000000" pitchFamily="2" charset="2"/>
              <a:buChar char=" "/>
              <a:tabLst/>
              <a:defRPr sz="2600" b="1">
                <a:solidFill>
                  <a:schemeClr val="accent3"/>
                </a:solidFill>
                <a:latin typeface="Arial"/>
                <a:cs typeface="Arial"/>
              </a:defRPr>
            </a:lvl2pPr>
          </a:lstStyle>
          <a:p>
            <a:pPr lvl="0"/>
            <a:r>
              <a:rPr lang="en-US" dirty="0" err="1"/>
              <a:t>Avsnitt</a:t>
            </a:r>
            <a:r>
              <a:rPr lang="en-US" dirty="0"/>
              <a:t> 1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2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3</a:t>
            </a:r>
          </a:p>
          <a:p>
            <a:pPr lvl="1"/>
            <a:r>
              <a:rPr lang="en-US" dirty="0" err="1"/>
              <a:t>Avsnitt</a:t>
            </a:r>
            <a:r>
              <a:rPr lang="en-US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41039583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753600"/>
            <a:ext cx="1282400" cy="738664"/>
          </a:xfrm>
          <a:prstGeom prst="rect">
            <a:avLst/>
          </a:prstGeom>
        </p:spPr>
        <p:txBody>
          <a:bodyPr vert="horz" wrap="square" lIns="0" tIns="0" bIns="0">
            <a:spAutoFit/>
          </a:bodyPr>
          <a:lstStyle>
            <a:lvl1pPr marL="0" indent="0" algn="l">
              <a:buNone/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#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999" y="1871199"/>
            <a:ext cx="7194277" cy="738664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Huvudrubrik, kapitelsida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1" y="3022671"/>
            <a:ext cx="3855223" cy="430887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2800" b="1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Kompletterande rubri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2879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753600"/>
            <a:ext cx="1282400" cy="738664"/>
          </a:xfrm>
          <a:prstGeom prst="rect">
            <a:avLst/>
          </a:prstGeom>
        </p:spPr>
        <p:txBody>
          <a:bodyPr vert="horz" wrap="square" lIns="0" tIns="0" bIns="0">
            <a:spAutoFit/>
          </a:bodyPr>
          <a:lstStyle>
            <a:lvl1pPr marL="0" indent="0" algn="l">
              <a:buNone/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#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999" y="1871199"/>
            <a:ext cx="7194277" cy="738664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Huvudrubrik, kapitelsida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1" y="3022671"/>
            <a:ext cx="3855223" cy="430887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2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Kompletterande rubri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4556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753600"/>
            <a:ext cx="1282400" cy="738664"/>
          </a:xfrm>
          <a:prstGeom prst="rect">
            <a:avLst/>
          </a:prstGeom>
        </p:spPr>
        <p:txBody>
          <a:bodyPr vert="horz" wrap="square" lIns="0" tIns="0" bIns="0">
            <a:spAutoFit/>
          </a:bodyPr>
          <a:lstStyle>
            <a:lvl1pPr marL="0" indent="0" algn="l">
              <a:buNone/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#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999" y="1871199"/>
            <a:ext cx="7194277" cy="738664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Huvudrubrik, kapitelsida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1" y="3022671"/>
            <a:ext cx="3855223" cy="430887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2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Kompletterande rubri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377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144000" y="192001"/>
            <a:ext cx="8856000" cy="56753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753600"/>
            <a:ext cx="1282400" cy="738664"/>
          </a:xfrm>
          <a:prstGeom prst="rect">
            <a:avLst/>
          </a:prstGeom>
        </p:spPr>
        <p:txBody>
          <a:bodyPr vert="horz" wrap="square" lIns="0" tIns="0" bIns="0">
            <a:spAutoFit/>
          </a:bodyPr>
          <a:lstStyle>
            <a:lvl1pPr marL="0" indent="0" algn="l">
              <a:buNone/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#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999" y="1871199"/>
            <a:ext cx="7194277" cy="738664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Huvudrubrik, kapitelsida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1" y="3022671"/>
            <a:ext cx="3855223" cy="430887"/>
          </a:xfrm>
          <a:prstGeom prst="rect">
            <a:avLst/>
          </a:prstGeom>
        </p:spPr>
        <p:txBody>
          <a:bodyPr vert="horz" wrap="none" lIns="0" tIns="0" rIns="0" bIns="0">
            <a:spAutoFit/>
          </a:bodyPr>
          <a:lstStyle>
            <a:lvl1pPr marL="0" indent="0" algn="l">
              <a:buNone/>
              <a:defRPr sz="2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/>
              <a:t>Kompletterande rubri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0327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 + 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7776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321514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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0914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2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985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rubrik + 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4"/>
            <a:ext cx="7776333" cy="54462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016709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48000" y="1385806"/>
            <a:ext cx="7776000" cy="499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ändra</a:t>
            </a:r>
            <a:r>
              <a:rPr lang="en-US" dirty="0"/>
              <a:t> </a:t>
            </a:r>
            <a:r>
              <a:rPr lang="en-US" dirty="0" err="1"/>
              <a:t>underrubrik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6683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två kolum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3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34000" y="1723203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6982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7776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506653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, två kolum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sv-SE" dirty="0"/>
              <a:t>Brödtext.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34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135215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77334" y="1723201"/>
            <a:ext cx="7717334" cy="3785777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90943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77333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19801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348567" y="1723201"/>
            <a:ext cx="2438400" cy="3300356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3192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990400" y="5114575"/>
            <a:ext cx="2494800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200">
                <a:solidFill>
                  <a:srgbClr val="252525"/>
                </a:solidFill>
              </a:defRPr>
            </a:lvl1pPr>
          </a:lstStyle>
          <a:p>
            <a:pPr lvl="0"/>
            <a:r>
              <a:rPr lang="en-US" dirty="0" err="1"/>
              <a:t>Bildtex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66802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, punktlista och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3690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321515"/>
            <a:ext cx="3690000" cy="1461939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4000" y="1723201"/>
            <a:ext cx="3690000" cy="3785777"/>
          </a:xfrm>
          <a:prstGeom prst="rect">
            <a:avLst/>
          </a:prstGeom>
          <a:ln w="57150" cmpd="sng">
            <a:noFill/>
            <a:miter lim="800000"/>
          </a:ln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 baseline="0">
                <a:solidFill>
                  <a:srgbClr val="252525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Klicka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lägga</a:t>
            </a:r>
            <a:r>
              <a:rPr lang="en-US" dirty="0"/>
              <a:t> till </a:t>
            </a:r>
            <a:r>
              <a:rPr lang="en-US" dirty="0" err="1"/>
              <a:t>bil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81433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er och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1"/>
          </p:nvPr>
        </p:nvSpPr>
        <p:spPr>
          <a:xfrm>
            <a:off x="5408614" y="1715916"/>
            <a:ext cx="3016250" cy="363502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1200"/>
            </a:lvl1pPr>
          </a:lstStyle>
          <a:p>
            <a:endParaRPr lang="sv-SE" dirty="0"/>
          </a:p>
          <a:p>
            <a:r>
              <a:rPr lang="sv-SE" dirty="0"/>
              <a:t>Klicka för att lägga till bil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2" y="1723203"/>
            <a:ext cx="4626733" cy="146193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182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2" y="1723203"/>
            <a:ext cx="3449867" cy="146193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Platshållare för diagram 3"/>
          <p:cNvSpPr>
            <a:spLocks noGrp="1"/>
          </p:cNvSpPr>
          <p:nvPr>
            <p:ph type="chart" sz="quarter" idx="11" hasCustomPrompt="1"/>
          </p:nvPr>
        </p:nvSpPr>
        <p:spPr>
          <a:xfrm>
            <a:off x="4097869" y="1722967"/>
            <a:ext cx="4326995" cy="369284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>
            <a:normAutofit/>
          </a:bodyPr>
          <a:lstStyle>
            <a:lvl1pPr marL="0" indent="0" algn="ctr">
              <a:lnSpc>
                <a:spcPts val="12000"/>
              </a:lnSpc>
              <a:buNone/>
              <a:defRPr lang="sv-SE" sz="1200" dirty="0"/>
            </a:lvl1pPr>
          </a:lstStyle>
          <a:p>
            <a:r>
              <a:rPr lang="sv-SE" dirty="0"/>
              <a:t>Klicka för att lägga till diagram</a:t>
            </a:r>
          </a:p>
        </p:txBody>
      </p:sp>
    </p:spTree>
    <p:extLst>
      <p:ext uri="{BB962C8B-B14F-4D97-AF65-F5344CB8AC3E}">
        <p14:creationId xmlns:p14="http://schemas.microsoft.com/office/powerpoint/2010/main" val="9109226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9713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1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1" hasCustomPrompt="1"/>
          </p:nvPr>
        </p:nvSpPr>
        <p:spPr>
          <a:xfrm>
            <a:off x="2165651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759876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28467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697059" y="3732623"/>
            <a:ext cx="1357200" cy="44627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-162000">
              <a:spcBef>
                <a:spcPts val="288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200">
                <a:solidFill>
                  <a:srgbClr val="252525"/>
                </a:solidFill>
              </a:defRPr>
            </a:lvl1pPr>
            <a:lvl2pPr marL="288000" indent="-144000">
              <a:spcBef>
                <a:spcPts val="24"/>
              </a:spcBef>
              <a:defRPr sz="1100">
                <a:solidFill>
                  <a:srgbClr val="252525"/>
                </a:solidFill>
              </a:defRPr>
            </a:lvl2pPr>
            <a:lvl3pPr marL="0" indent="0">
              <a:buNone/>
              <a:defRPr/>
            </a:lvl3pPr>
            <a:lvl4pPr marL="288000">
              <a:defRPr/>
            </a:lvl4pPr>
            <a:lvl5pPr marL="396000">
              <a:defRPr/>
            </a:lvl5pPr>
          </a:lstStyle>
          <a:p>
            <a:pPr lvl="0"/>
            <a:r>
              <a:rPr lang="sv-SE" dirty="0"/>
              <a:t>Nivå ett</a:t>
            </a:r>
          </a:p>
          <a:p>
            <a:pPr lvl="1"/>
            <a:r>
              <a:rPr lang="sv-SE" dirty="0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36718554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463" name="Picture 15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57226" y="3175"/>
            <a:ext cx="9818571" cy="687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62221" y="475376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sv-SE" sz="900" b="1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  <a:endParaRPr lang="sv-SE" sz="900" b="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62220" y="634112"/>
            <a:ext cx="29944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FFFFFF"/>
                </a:solidFill>
                <a:latin typeface="Arial"/>
                <a:cs typeface="+mn-cs"/>
              </a:rPr>
              <a:t>Last Modified 6/2/2015 4:40 PM W. Europe Standard Time</a:t>
            </a:r>
            <a:endParaRPr lang="sv-SE" sz="9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62221" y="794468"/>
            <a:ext cx="2737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FFFFFF"/>
                </a:solidFill>
                <a:latin typeface="Arial"/>
                <a:cs typeface="+mn-cs"/>
              </a:rPr>
              <a:t>Printed 5/28/2015 2:39 PM W. Europe Standard Time</a:t>
            </a:r>
            <a:endParaRPr lang="sv-SE" sz="9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62222" y="3804373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sv-SE" sz="1400">
                  <a:solidFill>
                    <a:srgbClr val="FFFFFF"/>
                  </a:solidFill>
                  <a:latin typeface="Arial"/>
                  <a:cs typeface="+mn-cs"/>
                </a:rPr>
                <a:t>Document type</a:t>
              </a:r>
              <a:endParaRPr lang="sv-SE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sv-SE" sz="1400">
                  <a:solidFill>
                    <a:srgbClr val="FFFFFF"/>
                  </a:solidFill>
                  <a:latin typeface="Arial"/>
                  <a:cs typeface="+mn-cs"/>
                </a:rPr>
                <a:t>Date</a:t>
              </a:r>
              <a:endParaRPr lang="sv-SE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62220" y="1334257"/>
            <a:ext cx="8145286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sv-SE" noProof="0" dirty="0" err="1"/>
              <a:t>Click</a:t>
            </a:r>
            <a:r>
              <a:rPr lang="sv-SE" noProof="0" dirty="0"/>
              <a:t> </a:t>
            </a:r>
            <a:r>
              <a:rPr lang="sv-SE" noProof="0" dirty="0" err="1"/>
              <a:t>to</a:t>
            </a:r>
            <a:r>
              <a:rPr lang="sv-SE" noProof="0" dirty="0"/>
              <a:t> </a:t>
            </a:r>
            <a:r>
              <a:rPr lang="sv-SE" noProof="0" dirty="0" err="1"/>
              <a:t>edit</a:t>
            </a:r>
            <a:r>
              <a:rPr lang="sv-SE" noProof="0" dirty="0"/>
              <a:t> Master </a:t>
            </a:r>
            <a:r>
              <a:rPr lang="sv-SE" noProof="0" dirty="0" err="1"/>
              <a:t>title</a:t>
            </a:r>
            <a:r>
              <a:rPr lang="sv-SE" noProof="0" dirty="0"/>
              <a:t>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62220" y="2700120"/>
            <a:ext cx="8145286" cy="246221"/>
          </a:xfrm>
        </p:spPr>
        <p:txBody>
          <a:bodyPr>
            <a:spAutoFit/>
          </a:bodyPr>
          <a:lstStyle>
            <a:lvl1pPr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sv-SE" noProof="0" dirty="0" err="1"/>
              <a:t>Click</a:t>
            </a:r>
            <a:r>
              <a:rPr lang="sv-SE" noProof="0" dirty="0"/>
              <a:t> </a:t>
            </a:r>
            <a:r>
              <a:rPr lang="sv-SE" noProof="0" dirty="0" err="1"/>
              <a:t>to</a:t>
            </a:r>
            <a:r>
              <a:rPr lang="sv-SE" noProof="0" dirty="0"/>
              <a:t> </a:t>
            </a:r>
            <a:r>
              <a:rPr lang="sv-SE" noProof="0" dirty="0" err="1"/>
              <a:t>edit</a:t>
            </a:r>
            <a:r>
              <a:rPr lang="sv-SE" noProof="0" dirty="0"/>
              <a:t> Master </a:t>
            </a:r>
            <a:r>
              <a:rPr lang="sv-SE" noProof="0" dirty="0" err="1"/>
              <a:t>subtitle</a:t>
            </a:r>
            <a:r>
              <a:rPr lang="sv-SE" noProof="0" dirty="0"/>
              <a:t> style</a:t>
            </a:r>
          </a:p>
        </p:txBody>
      </p: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82218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sv-SE" sz="800" dirty="0">
              <a:solidFill>
                <a:srgbClr val="262626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05084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Click to edit Master title style</a:t>
            </a:r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37886" y="6568813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C1221F6-7B48-4AE0-B9CA-D83CCF81070C}" type="datetime1">
              <a:rPr lang="sv-SE" smtClean="0">
                <a:solidFill>
                  <a:srgbClr val="262626"/>
                </a:solidFill>
              </a:rPr>
              <a:pPr/>
              <a:t>2019-02-21</a:t>
            </a:fld>
            <a:endParaRPr lang="sv-SE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4882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ヒラギノ角ゴ Pro W3" pitchFamily="28" charset="-128"/>
              </a:defRPr>
            </a:lvl1pPr>
          </a:lstStyle>
          <a:p>
            <a:pPr>
              <a:defRPr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33043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ヒラギノ角ゴ Pro W3" pitchFamily="28" charset="-128"/>
              </a:defRPr>
            </a:lvl1pPr>
          </a:lstStyle>
          <a:p>
            <a:pPr>
              <a:defRPr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61499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Rectangle 2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ヒラギノ角ゴ Pro W3" pitchFamily="28" charset="-128"/>
              </a:defRPr>
            </a:lvl1pPr>
          </a:lstStyle>
          <a:p>
            <a:pPr>
              <a:defRPr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0699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sv-SE" noProof="0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ödtext + 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723200"/>
            <a:ext cx="7776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252525"/>
                </a:solidFill>
              </a:defRPr>
            </a:lvl1pPr>
            <a:lvl3pPr marL="864000">
              <a:defRPr/>
            </a:lvl3pPr>
            <a:lvl4pPr marL="1152000">
              <a:defRPr/>
            </a:lvl4pPr>
            <a:lvl5pPr marL="1396800">
              <a:defRPr/>
            </a:lvl5pPr>
          </a:lstStyle>
          <a:p>
            <a:pPr lvl="0"/>
            <a:r>
              <a:rPr lang="en-US" dirty="0" err="1"/>
              <a:t>Brödtext</a:t>
            </a:r>
            <a:r>
              <a:rPr lang="en-US" dirty="0"/>
              <a:t>.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2321514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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4415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2" y="753601"/>
            <a:ext cx="7776333" cy="7252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252525"/>
                </a:solidFill>
              </a:defRPr>
            </a:lvl1pPr>
          </a:lstStyle>
          <a:p>
            <a:r>
              <a:rPr lang="sv-SE" dirty="0"/>
              <a:t>Klicka för att ändra rubrik.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8000" y="1723202"/>
            <a:ext cx="7776000" cy="1215717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1pPr>
            <a:lvl2pPr>
              <a:defRPr>
                <a:solidFill>
                  <a:srgbClr val="252525"/>
                </a:solidFill>
              </a:defRPr>
            </a:lvl2pPr>
            <a:lvl3pPr marL="864000" indent="-162000">
              <a:buClr>
                <a:schemeClr val="accent1"/>
              </a:buClr>
              <a:buFont typeface="Wingdings" panose="05000000000000000000" pitchFamily="2" charset="2"/>
              <a:buChar char="l"/>
              <a:defRPr>
                <a:solidFill>
                  <a:srgbClr val="252525"/>
                </a:solidFill>
              </a:defRPr>
            </a:lvl3pPr>
            <a:lvl4pPr marL="1152000">
              <a:defRPr>
                <a:solidFill>
                  <a:srgbClr val="252525"/>
                </a:solidFill>
              </a:defRPr>
            </a:lvl4pPr>
            <a:lvl5pPr marL="1396800">
              <a:defRPr>
                <a:solidFill>
                  <a:srgbClr val="252525"/>
                </a:solidFill>
              </a:defRPr>
            </a:lvl5pPr>
          </a:lstStyle>
          <a:p>
            <a:pPr lvl="0"/>
            <a:r>
              <a:rPr lang="sv-SE" dirty="0"/>
              <a:t>Nivå ett. ”</a:t>
            </a:r>
            <a:r>
              <a:rPr lang="sv-SE" dirty="0" err="1"/>
              <a:t>Tab</a:t>
            </a:r>
            <a:r>
              <a:rPr lang="sv-SE" dirty="0"/>
              <a:t>” för sänkt, ”</a:t>
            </a:r>
            <a:r>
              <a:rPr lang="sv-SE" dirty="0" err="1"/>
              <a:t>Shift+Tab</a:t>
            </a:r>
            <a:r>
              <a:rPr lang="sv-SE" dirty="0"/>
              <a:t>” för höjd punktnivå.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120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5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7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0.pn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print"/>
          <a:srcRect l="15659" t="17368" r="57779" b="1180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Platshållare för rubrik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1028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bg1"/>
          </a:solidFill>
          <a:latin typeface="Garamond" pitchFamily="18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Garamond" pitchFamily="1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bg1"/>
          </a:solidFill>
          <a:latin typeface="Garamond" pitchFamily="18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bg1"/>
          </a:solidFill>
          <a:latin typeface="Garamond" pitchFamily="18" charset="0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bg1"/>
          </a:solidFill>
          <a:latin typeface="Garamond" pitchFamily="18" charset="0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bg1"/>
          </a:solidFill>
          <a:latin typeface="Garamond" pitchFamily="18" charset="0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bg1"/>
          </a:solidFill>
          <a:latin typeface="Garamond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/>
          <p:cNvSpPr/>
          <p:nvPr userDrawn="1"/>
        </p:nvSpPr>
        <p:spPr>
          <a:xfrm>
            <a:off x="144000" y="5867400"/>
            <a:ext cx="8856000" cy="798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4301067" y="6083609"/>
            <a:ext cx="541866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rgbClr val="252525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204D9AB-87D0-EA4F-8B86-7AB804FABF04}" type="slidenum">
              <a:rPr lang="en-US" sz="900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1" name="Picture 7" descr="sj_logo_cmyk_neg.ai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972" y="5995939"/>
            <a:ext cx="593596" cy="541527"/>
          </a:xfrm>
          <a:prstGeom prst="rect">
            <a:avLst/>
          </a:prstGeom>
        </p:spPr>
      </p:pic>
      <p:sp>
        <p:nvSpPr>
          <p:cNvPr id="2" name="Platshållare för text 1"/>
          <p:cNvSpPr>
            <a:spLocks noGrp="1"/>
          </p:cNvSpPr>
          <p:nvPr>
            <p:ph type="body" idx="1"/>
          </p:nvPr>
        </p:nvSpPr>
        <p:spPr>
          <a:xfrm>
            <a:off x="628650" y="1826685"/>
            <a:ext cx="78867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579881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l" defTabSz="457200" rtl="0" eaLnBrk="1" latinLnBrk="0" hangingPunct="1">
        <a:spcBef>
          <a:spcPts val="624"/>
        </a:spcBef>
        <a:buNone/>
        <a:defRPr sz="2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16000" indent="-216000" algn="l" defTabSz="457200" rtl="0" eaLnBrk="1" latinLnBrk="0" hangingPunct="1">
        <a:spcBef>
          <a:spcPts val="300"/>
        </a:spcBef>
        <a:buSzPct val="100000"/>
        <a:buFontTx/>
        <a:buBlip>
          <a:blip r:embed="rId16"/>
        </a:buBlip>
        <a:defRPr sz="1600" kern="1200" baseline="0">
          <a:solidFill>
            <a:schemeClr val="tx1"/>
          </a:solidFill>
          <a:latin typeface="Arial"/>
          <a:ea typeface="+mn-ea"/>
          <a:cs typeface="Arial"/>
        </a:defRPr>
      </a:lvl1pPr>
      <a:lvl2pPr marL="540000" indent="-144000" algn="l" defTabSz="457200" rtl="0" eaLnBrk="1" latinLnBrk="0" hangingPunct="1">
        <a:spcBef>
          <a:spcPts val="3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64000" indent="-162000" algn="l" defTabSz="457200" rtl="0" eaLnBrk="1" latinLnBrk="0" hangingPunct="1">
        <a:spcBef>
          <a:spcPts val="300"/>
        </a:spcBef>
        <a:buSzPct val="100000"/>
        <a:buFontTx/>
        <a:buBlip>
          <a:blip r:embed="rId16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1152000" indent="-144000" algn="l" defTabSz="457200" rtl="0" eaLnBrk="1" latinLnBrk="0" hangingPunct="1">
        <a:spcBef>
          <a:spcPts val="300"/>
        </a:spcBef>
        <a:buFont typeface="Arial"/>
        <a:buChar char="–"/>
        <a:defRPr sz="1100" kern="1200">
          <a:solidFill>
            <a:schemeClr val="tx1"/>
          </a:solidFill>
          <a:latin typeface="Arial"/>
          <a:ea typeface="+mn-ea"/>
          <a:cs typeface="Arial"/>
        </a:defRPr>
      </a:lvl4pPr>
      <a:lvl5pPr marL="1396800" indent="-108000" algn="l" defTabSz="457200" rtl="0" eaLnBrk="1" latinLnBrk="0" hangingPunct="1">
        <a:spcBef>
          <a:spcPts val="300"/>
        </a:spcBef>
        <a:buFont typeface="Lucida Grande"/>
        <a:buChar char="-"/>
        <a:defRPr sz="1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4301067" y="6083609"/>
            <a:ext cx="541866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rgbClr val="252525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204D9AB-87D0-EA4F-8B86-7AB804FABF04}" type="slidenum">
              <a:rPr lang="en-US" sz="900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dirty="0"/>
          </a:p>
        </p:txBody>
      </p:sp>
      <p:pic>
        <p:nvPicPr>
          <p:cNvPr id="11" name="Picture 7" descr="sj_logo_cmyk_neg.ai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972" y="5995939"/>
            <a:ext cx="593596" cy="54152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974" y="5995936"/>
            <a:ext cx="594553" cy="5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56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txStyles>
    <p:titleStyle>
      <a:lvl1pPr algn="l" defTabSz="457200" rtl="0" eaLnBrk="1" latinLnBrk="0" hangingPunct="1">
        <a:spcBef>
          <a:spcPts val="624"/>
        </a:spcBef>
        <a:buNone/>
        <a:defRPr sz="2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16000" indent="-216000" algn="l" defTabSz="457200" rtl="0" eaLnBrk="1" latinLnBrk="0" hangingPunct="1">
        <a:spcBef>
          <a:spcPts val="1800"/>
        </a:spcBef>
        <a:buSzPct val="100000"/>
        <a:buFontTx/>
        <a:buBlip>
          <a:blip r:embed="rId10"/>
        </a:buBlip>
        <a:defRPr sz="1600" kern="1200" baseline="0">
          <a:solidFill>
            <a:schemeClr val="tx1"/>
          </a:solidFill>
          <a:latin typeface="Arial"/>
          <a:ea typeface="+mn-ea"/>
          <a:cs typeface="Arial"/>
        </a:defRPr>
      </a:lvl1pPr>
      <a:lvl2pPr marL="540000" indent="-1440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64000" indent="-1620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1152000" indent="-144000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chemeClr val="tx1"/>
          </a:solidFill>
          <a:latin typeface="Arial"/>
          <a:ea typeface="+mn-ea"/>
          <a:cs typeface="Arial"/>
        </a:defRPr>
      </a:lvl4pPr>
      <a:lvl5pPr marL="1396800" indent="-108000" algn="l" defTabSz="457200" rtl="0" eaLnBrk="1" latinLnBrk="0" hangingPunct="1">
        <a:spcBef>
          <a:spcPct val="20000"/>
        </a:spcBef>
        <a:buFont typeface="Lucida Grande"/>
        <a:buChar char="-"/>
        <a:defRPr sz="1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/>
          <p:cNvSpPr/>
          <p:nvPr userDrawn="1"/>
        </p:nvSpPr>
        <p:spPr>
          <a:xfrm>
            <a:off x="144000" y="5867400"/>
            <a:ext cx="8856000" cy="798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252525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4301067" y="6083609"/>
            <a:ext cx="541866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rgbClr val="252525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204D9AB-87D0-EA4F-8B86-7AB804FABF04}" type="slidenum">
              <a:rPr lang="en-US" sz="900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8" name="Footer Placeholder 11"/>
          <p:cNvSpPr txBox="1">
            <a:spLocks/>
          </p:cNvSpPr>
          <p:nvPr userDrawn="1"/>
        </p:nvSpPr>
        <p:spPr>
          <a:xfrm>
            <a:off x="1015620" y="6083609"/>
            <a:ext cx="1270000" cy="366183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rgbClr val="252525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FFFFF"/>
                </a:solidFill>
              </a:rPr>
              <a:t>PROJEKTNAMN</a:t>
            </a:r>
          </a:p>
        </p:txBody>
      </p:sp>
      <p:sp>
        <p:nvSpPr>
          <p:cNvPr id="19" name="Date Placeholder 12"/>
          <p:cNvSpPr txBox="1">
            <a:spLocks/>
          </p:cNvSpPr>
          <p:nvPr userDrawn="1"/>
        </p:nvSpPr>
        <p:spPr>
          <a:xfrm>
            <a:off x="388288" y="6083609"/>
            <a:ext cx="524937" cy="366183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b="1" kern="1200">
                <a:solidFill>
                  <a:srgbClr val="252525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FFFFF"/>
                </a:solidFill>
              </a:rPr>
              <a:t>Datum</a:t>
            </a:r>
          </a:p>
        </p:txBody>
      </p:sp>
      <p:pic>
        <p:nvPicPr>
          <p:cNvPr id="11" name="Picture 7" descr="sj_logo_cmyk_neg.ai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972" y="5995939"/>
            <a:ext cx="593596" cy="541527"/>
          </a:xfrm>
          <a:prstGeom prst="rect">
            <a:avLst/>
          </a:prstGeom>
        </p:spPr>
      </p:pic>
      <p:sp>
        <p:nvSpPr>
          <p:cNvPr id="2" name="Platshållare för text 1"/>
          <p:cNvSpPr>
            <a:spLocks noGrp="1"/>
          </p:cNvSpPr>
          <p:nvPr>
            <p:ph type="body" idx="1"/>
          </p:nvPr>
        </p:nvSpPr>
        <p:spPr>
          <a:xfrm>
            <a:off x="628650" y="1826685"/>
            <a:ext cx="78867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8366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</p:sldLayoutIdLst>
  <p:txStyles>
    <p:titleStyle>
      <a:lvl1pPr algn="l" defTabSz="457200" rtl="0" eaLnBrk="1" latinLnBrk="0" hangingPunct="1">
        <a:spcBef>
          <a:spcPts val="624"/>
        </a:spcBef>
        <a:buNone/>
        <a:defRPr sz="2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16000" indent="-216000" algn="l" defTabSz="457200" rtl="0" eaLnBrk="1" latinLnBrk="0" hangingPunct="1">
        <a:spcBef>
          <a:spcPts val="300"/>
        </a:spcBef>
        <a:buSzPct val="100000"/>
        <a:buFontTx/>
        <a:buBlip>
          <a:blip r:embed="rId16"/>
        </a:buBlip>
        <a:defRPr sz="1600" kern="1200" baseline="0">
          <a:solidFill>
            <a:schemeClr val="tx1"/>
          </a:solidFill>
          <a:latin typeface="Arial"/>
          <a:ea typeface="+mn-ea"/>
          <a:cs typeface="Arial"/>
        </a:defRPr>
      </a:lvl1pPr>
      <a:lvl2pPr marL="540000" indent="-144000" algn="l" defTabSz="457200" rtl="0" eaLnBrk="1" latinLnBrk="0" hangingPunct="1">
        <a:spcBef>
          <a:spcPts val="3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64000" indent="-162000" algn="l" defTabSz="457200" rtl="0" eaLnBrk="1" latinLnBrk="0" hangingPunct="1">
        <a:spcBef>
          <a:spcPts val="300"/>
        </a:spcBef>
        <a:buSzPct val="100000"/>
        <a:buFontTx/>
        <a:buBlip>
          <a:blip r:embed="rId16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1152000" indent="-144000" algn="l" defTabSz="457200" rtl="0" eaLnBrk="1" latinLnBrk="0" hangingPunct="1">
        <a:spcBef>
          <a:spcPts val="300"/>
        </a:spcBef>
        <a:buFont typeface="Arial"/>
        <a:buChar char="–"/>
        <a:defRPr sz="1100" kern="1200">
          <a:solidFill>
            <a:schemeClr val="tx1"/>
          </a:solidFill>
          <a:latin typeface="Arial"/>
          <a:ea typeface="+mn-ea"/>
          <a:cs typeface="Arial"/>
        </a:defRPr>
      </a:lvl4pPr>
      <a:lvl5pPr marL="1396800" indent="-108000" algn="l" defTabSz="457200" rtl="0" eaLnBrk="1" latinLnBrk="0" hangingPunct="1">
        <a:spcBef>
          <a:spcPts val="300"/>
        </a:spcBef>
        <a:buFont typeface="Lucida Grande"/>
        <a:buChar char="-"/>
        <a:defRPr sz="1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58"/>
          <p:cNvSpPr/>
          <p:nvPr/>
        </p:nvSpPr>
        <p:spPr bwMode="auto">
          <a:xfrm>
            <a:off x="251520" y="260648"/>
            <a:ext cx="8640960" cy="5904656"/>
          </a:xfrm>
          <a:prstGeom prst="rect">
            <a:avLst/>
          </a:prstGeom>
          <a:solidFill>
            <a:srgbClr val="F5F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 dirty="0" err="1">
              <a:noFill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218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sv-SE" sz="8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1654" y="1980949"/>
            <a:ext cx="20021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262626"/>
                </a:solidFill>
                <a:latin typeface="Arial"/>
                <a:cs typeface="+mn-cs"/>
              </a:rPr>
              <a:t>Last Modified 6/2/2015 4:40 PM W. Europe Standard Time</a:t>
            </a:r>
            <a:endParaRPr lang="sv-SE" sz="1600" dirty="0">
              <a:solidFill>
                <a:srgbClr val="262626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7414" y="4198929"/>
            <a:ext cx="18306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262626"/>
                </a:solidFill>
                <a:latin typeface="Arial"/>
                <a:cs typeface="+mn-cs"/>
              </a:rPr>
              <a:t>Printed 5/28/2015 2:39 PM W. Europe Standard Time</a:t>
            </a:r>
            <a:endParaRPr lang="sv-SE" sz="1600" dirty="0">
              <a:solidFill>
                <a:srgbClr val="262626"/>
              </a:solidFill>
              <a:latin typeface="Arial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 noProof="0"/>
              <a:t>Text</a:t>
            </a:r>
            <a:endParaRPr lang="sv-S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58721" y="319059"/>
            <a:ext cx="842656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58720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sz="140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sv-SE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58721" y="626811"/>
            <a:ext cx="842656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sv-SE" sz="160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  <a:endParaRPr lang="sv-SE" sz="16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58721" y="5708938"/>
            <a:ext cx="8426560" cy="382261"/>
            <a:chOff x="75" y="3914"/>
            <a:chExt cx="5385" cy="2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sv-SE" sz="1000">
                  <a:solidFill>
                    <a:srgbClr val="262626"/>
                  </a:solidFill>
                  <a:latin typeface="Arial"/>
                  <a:cs typeface="+mn-cs"/>
                </a:rPr>
                <a:t>1 Footnote</a:t>
              </a:r>
              <a:endParaRPr lang="sv-SE" sz="10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sv-SE" sz="1000">
                  <a:solidFill>
                    <a:srgbClr val="262626"/>
                  </a:solidFill>
                  <a:latin typeface="Arial"/>
                  <a:cs typeface="+mn-cs"/>
                </a:rPr>
                <a:t>SOURCE: Source</a:t>
              </a:r>
              <a:endParaRPr lang="sv-SE" sz="10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sv-SE" sz="1600" b="1">
                  <a:solidFill>
                    <a:srgbClr val="262626"/>
                  </a:solidFill>
                  <a:latin typeface="Arial"/>
                  <a:cs typeface="+mn-cs"/>
                </a:rPr>
                <a:t>Title</a:t>
              </a:r>
            </a:p>
            <a:p>
              <a:r>
                <a:rPr lang="sv-SE" sz="160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sv-SE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06142" y="374500"/>
            <a:ext cx="769426" cy="1013962"/>
            <a:chOff x="4936" y="176"/>
            <a:chExt cx="475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691885" y="374500"/>
            <a:ext cx="1083673" cy="741845"/>
            <a:chOff x="4750" y="176"/>
            <a:chExt cx="669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 sz="120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18386" y="374498"/>
            <a:ext cx="1066895" cy="212366"/>
            <a:chOff x="7695181" y="285750"/>
            <a:chExt cx="1045594" cy="20813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95181" y="285750"/>
              <a:ext cx="1045594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1FA845"/>
                </a:buClr>
              </a:pPr>
              <a:r>
                <a:rPr lang="sv-SE" sz="1200">
                  <a:solidFill>
                    <a:srgbClr val="808080"/>
                  </a:solidFill>
                  <a:latin typeface="Arial"/>
                  <a:cs typeface="+mn-cs"/>
                </a:rPr>
                <a:t>PRELIMINARY</a:t>
              </a:r>
              <a:endParaRPr lang="sv-SE" sz="12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95181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95181" y="493888"/>
              <a:ext cx="10455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37930" y="374498"/>
            <a:ext cx="836962" cy="1333054"/>
            <a:chOff x="6655594" y="273840"/>
            <a:chExt cx="820253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  <a:endParaRPr lang="sv-SE" sz="12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  <a:endParaRPr lang="sv-SE" sz="12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  <a:endParaRPr lang="sv-SE" sz="12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1FA845"/>
                </a:buClr>
              </a:pPr>
              <a:r>
                <a:rPr lang="sv-SE" sz="1200">
                  <a:solidFill>
                    <a:srgbClr val="262626"/>
                  </a:solidFill>
                  <a:latin typeface="Arial"/>
                  <a:cs typeface="+mn-cs"/>
                </a:rPr>
                <a:t>Legend</a:t>
              </a:r>
              <a:endParaRPr lang="sv-SE" sz="1200" dirty="0">
                <a:solidFill>
                  <a:srgbClr val="262626"/>
                </a:solidFill>
                <a:latin typeface="Arial"/>
                <a:cs typeface="+mn-cs"/>
              </a:endParaRP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 sz="1200">
                  <a:solidFill>
                    <a:srgbClr val="262626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251520" y="656725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sv-SE" sz="1000" smtClean="0">
                <a:solidFill>
                  <a:srgbClr val="262626"/>
                </a:solidFill>
                <a:cs typeface="+mn-cs"/>
              </a:rPr>
              <a:pPr/>
              <a:t>‹#›</a:t>
            </a:fld>
            <a:endParaRPr lang="sv-SE" sz="1000" dirty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58" name="Picture 57" descr="sj_logo_cmyk.pn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72401" y="6263800"/>
            <a:ext cx="698275" cy="477568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37886" y="6568813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2484C83-9A88-4FE4-B83E-644BF72ACE50}" type="datetime1">
              <a:rPr lang="sv-SE" smtClean="0">
                <a:solidFill>
                  <a:srgbClr val="262626"/>
                </a:solidFill>
                <a:latin typeface="Arial"/>
                <a:cs typeface="+mn-cs"/>
              </a:rPr>
              <a:pPr/>
              <a:t>2019-02-21</a:t>
            </a:fld>
            <a:endParaRPr lang="sv-SE" dirty="0">
              <a:solidFill>
                <a:srgbClr val="262626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174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</p:sldLayoutIdLst>
  <p:hf sldNum="0" hdr="0" ftr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3" descr="bottenstrip_rod_toning ljustillmor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9" r="2547"/>
          <a:stretch>
            <a:fillRect/>
          </a:stretch>
        </p:blipFill>
        <p:spPr bwMode="auto">
          <a:xfrm>
            <a:off x="0" y="6169025"/>
            <a:ext cx="9144000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Platshållare för rubrik 1"/>
          <p:cNvSpPr>
            <a:spLocks noGrp="1"/>
          </p:cNvSpPr>
          <p:nvPr>
            <p:ph type="title"/>
          </p:nvPr>
        </p:nvSpPr>
        <p:spPr bwMode="auto">
          <a:xfrm>
            <a:off x="457200" y="4143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</a:t>
            </a:r>
          </a:p>
        </p:txBody>
      </p:sp>
      <p:sp>
        <p:nvSpPr>
          <p:cNvPr id="8196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457200" y="1711325"/>
            <a:ext cx="8229600" cy="431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288926" y="6448425"/>
            <a:ext cx="428625" cy="184666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3CA930C3-7AFC-491F-BC4A-3FC3A6D5E004}" type="slidenum">
              <a:rPr lang="sv-SE" sz="600">
                <a:solidFill>
                  <a:prstClr val="white"/>
                </a:solidFill>
                <a:ea typeface="ヒラギノ角ゴ Pro W3" pitchFamily="28" charset="-128"/>
                <a:cs typeface="+mn-cs"/>
              </a:rPr>
              <a:pPr eaLnBrk="1" hangingPunct="1">
                <a:defRPr/>
              </a:pPr>
              <a:t>‹#›</a:t>
            </a:fld>
            <a:endParaRPr lang="sv-SE" sz="600">
              <a:solidFill>
                <a:prstClr val="white"/>
              </a:solidFill>
              <a:ea typeface="ヒラギノ角ゴ Pro W3" pitchFamily="28" charset="-128"/>
              <a:cs typeface="+mn-cs"/>
            </a:endParaRPr>
          </a:p>
        </p:txBody>
      </p:sp>
      <p:sp>
        <p:nvSpPr>
          <p:cNvPr id="2074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36925" y="6423029"/>
            <a:ext cx="2895600" cy="358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5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endParaRPr lang="sv-SE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5332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jpeg"/><Relationship Id="rId4" Type="http://schemas.openxmlformats.org/officeDocument/2006/relationships/image" Target="../media/image1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3356992"/>
            <a:ext cx="8229600" cy="2592287"/>
          </a:xfrm>
        </p:spPr>
        <p:txBody>
          <a:bodyPr/>
          <a:lstStyle/>
          <a:p>
            <a:r>
              <a:rPr lang="sv-SE" sz="4400" dirty="0" smtClean="0"/>
              <a:t>BYGG BORT!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Flaskhalsen Göteborg-Alingsås </a:t>
            </a:r>
            <a:br>
              <a:rPr lang="sv-SE" dirty="0" smtClean="0"/>
            </a:br>
            <a:r>
              <a:rPr lang="sv-SE" dirty="0" smtClean="0"/>
              <a:t>på Västra stambanan</a:t>
            </a:r>
            <a:br>
              <a:rPr lang="sv-SE" dirty="0" smtClean="0"/>
            </a:br>
            <a:endParaRPr lang="sv-SE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28509"/>
            <a:ext cx="3168352" cy="1693814"/>
          </a:xfrm>
          <a:prstGeom prst="rect">
            <a:avLst/>
          </a:prstGeom>
        </p:spPr>
      </p:pic>
      <p:pic>
        <p:nvPicPr>
          <p:cNvPr id="4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128" y="1848811"/>
            <a:ext cx="2454899" cy="1300163"/>
          </a:xfrm>
          <a:prstGeom prst="rect">
            <a:avLst/>
          </a:prstGeom>
        </p:spPr>
      </p:pic>
      <p:pic>
        <p:nvPicPr>
          <p:cNvPr id="5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1108752"/>
            <a:ext cx="2677886" cy="1518165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12" b="14041"/>
          <a:stretch/>
        </p:blipFill>
        <p:spPr>
          <a:xfrm>
            <a:off x="3707904" y="444689"/>
            <a:ext cx="2562103" cy="132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170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1267546"/>
          </a:xfrm>
        </p:spPr>
        <p:txBody>
          <a:bodyPr/>
          <a:lstStyle/>
          <a:p>
            <a:r>
              <a:rPr lang="sv-SE" dirty="0" smtClean="0"/>
              <a:t>INVESTERA I NYA SPÅR </a:t>
            </a:r>
            <a:br>
              <a:rPr lang="sv-SE" dirty="0" smtClean="0"/>
            </a:br>
            <a:r>
              <a:rPr lang="sv-SE" dirty="0" smtClean="0"/>
              <a:t>– under 2020-tale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6"/>
          </a:xfrm>
        </p:spPr>
        <p:txBody>
          <a:bodyPr/>
          <a:lstStyle/>
          <a:p>
            <a:pPr marL="0" indent="0">
              <a:buNone/>
            </a:pPr>
            <a:r>
              <a:rPr lang="sv-SE" b="1" dirty="0" smtClean="0"/>
              <a:t>Varför det?</a:t>
            </a:r>
          </a:p>
          <a:p>
            <a:endParaRPr lang="sv-SE" dirty="0"/>
          </a:p>
          <a:p>
            <a:r>
              <a:rPr lang="sv-SE" dirty="0" smtClean="0"/>
              <a:t>Transportsektorn i förändring, ”Agenda 2030”.</a:t>
            </a:r>
          </a:p>
          <a:p>
            <a:r>
              <a:rPr lang="sv-SE" dirty="0" smtClean="0"/>
              <a:t>Mer gods på järnväg.</a:t>
            </a:r>
          </a:p>
          <a:p>
            <a:r>
              <a:rPr lang="sv-SE" dirty="0" smtClean="0"/>
              <a:t>Dyrt att vänta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55553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1080120"/>
          </a:xfrm>
        </p:spPr>
        <p:txBody>
          <a:bodyPr/>
          <a:lstStyle/>
          <a:p>
            <a:r>
              <a:rPr lang="sv-SE" dirty="0" smtClean="0"/>
              <a:t>KOSTNADSEFFEKTIVT BYGGAND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4"/>
          </a:xfrm>
        </p:spPr>
        <p:txBody>
          <a:bodyPr/>
          <a:lstStyle/>
          <a:p>
            <a:r>
              <a:rPr lang="sv-SE" dirty="0" smtClean="0"/>
              <a:t>Ny sträckning, utanför tätorterna och merparten tunnelförlagd, ger stora fördelar.</a:t>
            </a:r>
          </a:p>
          <a:p>
            <a:pPr marL="0" indent="0">
              <a:buNone/>
            </a:pPr>
            <a:endParaRPr lang="sv-SE" dirty="0" smtClean="0"/>
          </a:p>
          <a:p>
            <a:r>
              <a:rPr lang="sv-SE" dirty="0" smtClean="0"/>
              <a:t>Byggandet stör inte trafiken på de befintliga spåren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140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ommuner i samverkan för Västra stambanan</a:t>
            </a:r>
          </a:p>
        </p:txBody>
      </p:sp>
      <p:sp>
        <p:nvSpPr>
          <p:cNvPr id="5" name="textruta 4"/>
          <p:cNvSpPr txBox="1"/>
          <p:nvPr/>
        </p:nvSpPr>
        <p:spPr>
          <a:xfrm>
            <a:off x="-36512" y="4475597"/>
            <a:ext cx="914400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400" dirty="0">
                <a:solidFill>
                  <a:schemeClr val="bg1"/>
                </a:solidFill>
                <a:latin typeface="Garamond" panose="02020404030301010803" pitchFamily="18" charset="0"/>
              </a:rPr>
              <a:t>Partille • Lerum • Alingsås • Vårgårda • Herrljunga • Falköping • </a:t>
            </a:r>
            <a:r>
              <a:rPr lang="sv-SE" sz="24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Skövde</a:t>
            </a:r>
            <a:r>
              <a:rPr lang="sv-SE" sz="2400" dirty="0">
                <a:solidFill>
                  <a:schemeClr val="bg1"/>
                </a:solidFill>
                <a:latin typeface="Garamond" panose="02020404030301010803" pitchFamily="18" charset="0"/>
              </a:rPr>
              <a:t> •</a:t>
            </a:r>
            <a:r>
              <a:rPr lang="sv-SE" sz="24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sv-SE" sz="2400" dirty="0">
                <a:solidFill>
                  <a:schemeClr val="bg1"/>
                </a:solidFill>
                <a:latin typeface="Garamond" panose="02020404030301010803" pitchFamily="18" charset="0"/>
              </a:rPr>
              <a:t>Töreboda • Laxå • Hallsberg • Vingåker • Katrineholm • Flen • Gnesta </a:t>
            </a:r>
          </a:p>
          <a:p>
            <a:pPr algn="ctr"/>
            <a:r>
              <a:rPr lang="sv-SE" sz="24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endParaRPr lang="sv-SE" sz="2000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algn="ctr"/>
            <a:r>
              <a:rPr lang="sv-SE" sz="20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Kontakt: </a:t>
            </a:r>
          </a:p>
          <a:p>
            <a:pPr algn="ctr"/>
            <a:r>
              <a:rPr lang="sv-SE" dirty="0">
                <a:solidFill>
                  <a:schemeClr val="bg1"/>
                </a:solidFill>
                <a:latin typeface="Garamond" panose="02020404030301010803" pitchFamily="18" charset="0"/>
              </a:rPr>
              <a:t>k</a:t>
            </a:r>
            <a:r>
              <a:rPr lang="sv-SE" dirty="0" smtClean="0">
                <a:solidFill>
                  <a:schemeClr val="bg1"/>
                </a:solidFill>
                <a:latin typeface="Garamond" panose="02020404030301010803" pitchFamily="18" charset="0"/>
              </a:rPr>
              <a:t>atarina.jonsson@skovde.se, lennart.wassenius@lerum.se eller jan.bremer@skovde.se</a:t>
            </a:r>
          </a:p>
          <a:p>
            <a:pPr algn="ctr"/>
            <a:endParaRPr lang="sv-SE" sz="2000" dirty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algn="ctr"/>
            <a:endParaRPr lang="sv-SE" sz="24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720" y="1340768"/>
            <a:ext cx="4927662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29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080120"/>
          </a:xfrm>
        </p:spPr>
        <p:txBody>
          <a:bodyPr/>
          <a:lstStyle/>
          <a:p>
            <a:r>
              <a:rPr lang="sv-SE" dirty="0" smtClean="0"/>
              <a:t>SVERIGES VÄRSTA FLASKHALS</a:t>
            </a:r>
            <a:endParaRPr lang="sv-SE" dirty="0"/>
          </a:p>
        </p:txBody>
      </p:sp>
      <p:sp>
        <p:nvSpPr>
          <p:cNvPr id="5" name="textruta 4"/>
          <p:cNvSpPr txBox="1"/>
          <p:nvPr/>
        </p:nvSpPr>
        <p:spPr>
          <a:xfrm>
            <a:off x="4283968" y="1340768"/>
            <a:ext cx="4464496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None/>
            </a:pPr>
            <a:r>
              <a:rPr lang="sv-SE" sz="22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… finns på Västra stambanan, Göteborg-Alingsås.</a:t>
            </a:r>
            <a:endParaRPr lang="sv-SE" sz="2200" dirty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>
              <a:spcBef>
                <a:spcPts val="0"/>
              </a:spcBef>
              <a:buNone/>
            </a:pPr>
            <a:endParaRPr lang="sv-SE" sz="2200" dirty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r>
              <a:rPr lang="sv-SE" sz="22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Kapacitetskonflikter 2018:</a:t>
            </a:r>
          </a:p>
          <a:p>
            <a:endParaRPr lang="sv-SE" sz="2200" b="1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38 stycken på hela svenska järnvägsnätet.</a:t>
            </a:r>
          </a:p>
          <a:p>
            <a:endParaRPr lang="sv-SE" sz="2200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32 stycken på Västra stambanan</a:t>
            </a:r>
          </a:p>
          <a:p>
            <a:endParaRPr lang="sv-SE" sz="2200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Varav 28 stycken på sträckan Göteborg-Alingsås.</a:t>
            </a:r>
            <a:endParaRPr lang="sv-SE" sz="2200" dirty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endParaRPr lang="sv-SE" sz="22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6" name="Rektangel med rundade hörn 5"/>
          <p:cNvSpPr>
            <a:spLocks noChangeAspect="1"/>
          </p:cNvSpPr>
          <p:nvPr/>
        </p:nvSpPr>
        <p:spPr>
          <a:xfrm>
            <a:off x="847373" y="4293096"/>
            <a:ext cx="2813166" cy="1008112"/>
          </a:xfrm>
          <a:prstGeom prst="roundRect">
            <a:avLst/>
          </a:prstGeom>
          <a:solidFill>
            <a:srgbClr val="FFD204"/>
          </a:solidFill>
          <a:ln w="165100">
            <a:solidFill>
              <a:srgbClr val="EE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 dirty="0">
                <a:solidFill>
                  <a:schemeClr val="tx1"/>
                </a:solidFill>
                <a:latin typeface="Lucida Sans" panose="020B0602030504020204" pitchFamily="34" charset="0"/>
              </a:rPr>
              <a:t>Avtagande kapacitet</a:t>
            </a:r>
          </a:p>
          <a:p>
            <a:pPr algn="ctr"/>
            <a:r>
              <a:rPr lang="sv-SE" b="1" dirty="0" smtClean="0">
                <a:solidFill>
                  <a:schemeClr val="tx1"/>
                </a:solidFill>
                <a:latin typeface="Lucida Sans" panose="020B0602030504020204" pitchFamily="34" charset="0"/>
              </a:rPr>
              <a:t>Göteborg-Alingsås</a:t>
            </a:r>
            <a:endParaRPr lang="sv-SE" b="1" dirty="0">
              <a:solidFill>
                <a:schemeClr val="tx1"/>
              </a:solidFill>
              <a:latin typeface="Lucida Sans" panose="020B0602030504020204" pitchFamily="34" charset="0"/>
            </a:endParaRPr>
          </a:p>
        </p:txBody>
      </p:sp>
      <p:pic>
        <p:nvPicPr>
          <p:cNvPr id="1026" name="Picture 2" descr="http://www.xn--vgmrken-5wac.se/wp-content/uploads/avsmalnand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58" y="1196752"/>
            <a:ext cx="3298070" cy="2937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04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ÅLBILD 2030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323528" y="1556792"/>
            <a:ext cx="2232248" cy="4525963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Nytt dubbelspår, </a:t>
            </a:r>
          </a:p>
          <a:p>
            <a:pPr marL="0" indent="0">
              <a:buNone/>
            </a:pPr>
            <a:r>
              <a:rPr lang="sv-SE" dirty="0" smtClean="0"/>
              <a:t>4 mil i ny sträckning, öppnar för trafik 2030.</a:t>
            </a:r>
            <a:endParaRPr lang="sv-SE" dirty="0"/>
          </a:p>
        </p:txBody>
      </p:sp>
      <p:pic>
        <p:nvPicPr>
          <p:cNvPr id="5" name="Platshållare för innehåll 4">
            <a:extLst>
              <a:ext uri="{FF2B5EF4-FFF2-40B4-BE49-F238E27FC236}">
                <a16:creationId xmlns="" xmlns:a16="http://schemas.microsoft.com/office/drawing/2014/main" id="{71D0D98B-1CF4-4F46-9297-2D58220A42E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2726588" y="1556792"/>
            <a:ext cx="5960213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751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1080120"/>
          </a:xfrm>
        </p:spPr>
        <p:txBody>
          <a:bodyPr/>
          <a:lstStyle/>
          <a:p>
            <a:r>
              <a:rPr lang="sv-SE" dirty="0" smtClean="0"/>
              <a:t>TRAFIKNYTTA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3744416"/>
          </a:xfrm>
        </p:spPr>
        <p:txBody>
          <a:bodyPr/>
          <a:lstStyle/>
          <a:p>
            <a:r>
              <a:rPr lang="sv-SE" dirty="0" smtClean="0"/>
              <a:t>2 ½ timme för direkttåg Göteborg-Stockholm.</a:t>
            </a:r>
          </a:p>
          <a:p>
            <a:r>
              <a:rPr lang="sv-SE" dirty="0" smtClean="0"/>
              <a:t>Fler trafikeringsmöjligheter för godstrafiken.</a:t>
            </a:r>
          </a:p>
          <a:p>
            <a:r>
              <a:rPr lang="sv-SE" dirty="0" smtClean="0"/>
              <a:t>Fördubblad turtäthet i pendeltågstrafiken, d.v.s. 15 minuters trafik. </a:t>
            </a:r>
          </a:p>
          <a:p>
            <a:r>
              <a:rPr lang="sv-SE" dirty="0" smtClean="0"/>
              <a:t>Avsevärt kortare körtider för regiontrafiken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9797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AMHÄLLSEKONOMI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/>
              <a:t>NNK </a:t>
            </a:r>
            <a:r>
              <a:rPr lang="sv-SE" sz="2400" dirty="0" smtClean="0"/>
              <a:t>(netto-nuvärdeskvoten)</a:t>
            </a:r>
          </a:p>
          <a:p>
            <a:pPr marL="0" indent="0">
              <a:buNone/>
            </a:pPr>
            <a:r>
              <a:rPr lang="sv-SE" dirty="0" smtClean="0"/>
              <a:t>minst 0,4</a:t>
            </a:r>
          </a:p>
          <a:p>
            <a:pPr marL="0" indent="0">
              <a:buNone/>
            </a:pPr>
            <a:endParaRPr lang="sv-SE" dirty="0" smtClean="0"/>
          </a:p>
          <a:p>
            <a:pPr marL="0" indent="0">
              <a:buNone/>
            </a:pPr>
            <a:r>
              <a:rPr lang="sv-SE" dirty="0" smtClean="0"/>
              <a:t>Rakare och kortare spårsträckning och högre hastigheter ger kortare restider. Det innebär en positiv och stark NNK.</a:t>
            </a:r>
            <a:endParaRPr lang="sv-SE" dirty="0"/>
          </a:p>
        </p:txBody>
      </p:sp>
      <p:graphicFrame>
        <p:nvGraphicFramePr>
          <p:cNvPr id="11" name="Platshållare för innehåll 10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84749538"/>
              </p:ext>
            </p:extLst>
          </p:nvPr>
        </p:nvGraphicFramePr>
        <p:xfrm>
          <a:off x="4788024" y="1600200"/>
          <a:ext cx="3672408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69166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325565"/>
          </a:xfrm>
        </p:spPr>
        <p:txBody>
          <a:bodyPr/>
          <a:lstStyle/>
          <a:p>
            <a:r>
              <a:rPr lang="sv-SE" dirty="0" smtClean="0"/>
              <a:t>ROBUST, PUNKTLIG OCH SÄK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3754760" cy="4525963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Utbyggnad av Västra stambanan </a:t>
            </a:r>
          </a:p>
          <a:p>
            <a:pPr marL="0" indent="0">
              <a:buNone/>
            </a:pPr>
            <a:r>
              <a:rPr lang="sv-SE" dirty="0" smtClean="0"/>
              <a:t>Göteborg (Sävenäs) till Alingsås</a:t>
            </a:r>
          </a:p>
          <a:p>
            <a:pPr marL="0" indent="0">
              <a:buNone/>
            </a:pPr>
            <a:r>
              <a:rPr lang="sv-SE" dirty="0"/>
              <a:t>G</a:t>
            </a:r>
            <a:r>
              <a:rPr lang="sv-SE" dirty="0" smtClean="0"/>
              <a:t>er stora effekter:</a:t>
            </a:r>
          </a:p>
          <a:p>
            <a:r>
              <a:rPr lang="sv-SE" dirty="0"/>
              <a:t>N</a:t>
            </a:r>
            <a:r>
              <a:rPr lang="sv-SE" dirty="0" smtClean="0"/>
              <a:t>ationellt</a:t>
            </a:r>
          </a:p>
          <a:p>
            <a:r>
              <a:rPr lang="sv-SE" dirty="0" smtClean="0"/>
              <a:t>Regionalt</a:t>
            </a:r>
          </a:p>
          <a:p>
            <a:r>
              <a:rPr lang="sv-SE" dirty="0"/>
              <a:t>L</a:t>
            </a:r>
            <a:r>
              <a:rPr lang="sv-SE" dirty="0" smtClean="0"/>
              <a:t>okalt</a:t>
            </a:r>
            <a:endParaRPr lang="sv-SE" dirty="0"/>
          </a:p>
        </p:txBody>
      </p:sp>
      <p:pic>
        <p:nvPicPr>
          <p:cNvPr id="5" name="Platshållare för innehåll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384889" y="1700808"/>
            <a:ext cx="4246246" cy="18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294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ÄSTRA STAMBANAN 2.0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/>
              <a:t>Ändpunktsinvesteringar i stambanan, Stockholmsområdet (klart 2022) och Göteborgsområdet (klart 2030), innebär en kraftig uppgradering av Västra stambanan.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 smtClean="0"/>
              <a:t>Den blir robust, punktlig och säker.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88223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1296144"/>
          </a:xfrm>
        </p:spPr>
        <p:txBody>
          <a:bodyPr/>
          <a:lstStyle/>
          <a:p>
            <a:r>
              <a:rPr lang="sv-SE" dirty="0" smtClean="0"/>
              <a:t>STÄRKER GODSTRAFIKENS PULSÅ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556792"/>
            <a:ext cx="3106688" cy="4569374"/>
          </a:xfrm>
        </p:spPr>
        <p:txBody>
          <a:bodyPr/>
          <a:lstStyle/>
          <a:p>
            <a:pPr marL="0" indent="0">
              <a:buNone/>
            </a:pPr>
            <a:r>
              <a:rPr lang="sv-SE" sz="2400" b="1" dirty="0" smtClean="0"/>
              <a:t>Göteborgs hamn </a:t>
            </a:r>
            <a:r>
              <a:rPr lang="sv-SE" sz="2400" dirty="0" smtClean="0"/>
              <a:t>– Sveriges och Skandinaviens hamn.</a:t>
            </a:r>
          </a:p>
          <a:p>
            <a:pPr marL="0" indent="0">
              <a:buNone/>
            </a:pPr>
            <a:endParaRPr lang="sv-SE" sz="2400" dirty="0" smtClean="0"/>
          </a:p>
          <a:p>
            <a:pPr marL="0" indent="0">
              <a:buNone/>
            </a:pPr>
            <a:r>
              <a:rPr lang="sv-SE" sz="2400" b="1" dirty="0" smtClean="0"/>
              <a:t>Hallsberg</a:t>
            </a:r>
            <a:r>
              <a:rPr lang="sv-SE" sz="2400" dirty="0" smtClean="0"/>
              <a:t> – en strategisk knutpunkt i Sveriges godstrafik.</a:t>
            </a:r>
          </a:p>
          <a:p>
            <a:pPr marL="0" indent="0">
              <a:buNone/>
            </a:pPr>
            <a:endParaRPr lang="sv-SE" sz="2400" dirty="0" smtClean="0"/>
          </a:p>
          <a:p>
            <a:pPr marL="0" indent="0">
              <a:buNone/>
            </a:pPr>
            <a:r>
              <a:rPr lang="sv-SE" sz="2400" b="1" dirty="0" smtClean="0"/>
              <a:t>”</a:t>
            </a:r>
            <a:r>
              <a:rPr lang="sv-SE" sz="2400" b="1" dirty="0" err="1" smtClean="0"/>
              <a:t>Dry</a:t>
            </a:r>
            <a:r>
              <a:rPr lang="sv-SE" sz="2400" b="1" dirty="0" smtClean="0"/>
              <a:t> Port” </a:t>
            </a:r>
            <a:r>
              <a:rPr lang="sv-SE" sz="2400" dirty="0" smtClean="0"/>
              <a:t>– kopplas upp mot Västra Stambanan.</a:t>
            </a:r>
          </a:p>
          <a:p>
            <a:pPr marL="0" indent="0">
              <a:buNone/>
            </a:pPr>
            <a:endParaRPr lang="sv-SE" dirty="0" smtClean="0"/>
          </a:p>
        </p:txBody>
      </p:sp>
      <p:pic>
        <p:nvPicPr>
          <p:cNvPr id="6" name="Platshållare för innehåll 5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1691317"/>
            <a:ext cx="4690864" cy="3753907"/>
          </a:xfrm>
        </p:spPr>
      </p:pic>
    </p:spTree>
    <p:extLst>
      <p:ext uri="{BB962C8B-B14F-4D97-AF65-F5344CB8AC3E}">
        <p14:creationId xmlns:p14="http://schemas.microsoft.com/office/powerpoint/2010/main" val="1553349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VECKLAR </a:t>
            </a:r>
            <a:r>
              <a:rPr lang="sv-SE" dirty="0" smtClean="0"/>
              <a:t>REGIONE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340768"/>
            <a:ext cx="4038600" cy="5040559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Snabbare </a:t>
            </a:r>
            <a:r>
              <a:rPr lang="sv-SE" dirty="0"/>
              <a:t>förbindelser i stråket har fler goda effekter.</a:t>
            </a:r>
          </a:p>
          <a:p>
            <a:r>
              <a:rPr lang="sv-SE" sz="2600" dirty="0" smtClean="0"/>
              <a:t>De </a:t>
            </a:r>
            <a:r>
              <a:rPr lang="sv-SE" sz="2600" dirty="0"/>
              <a:t>lokala </a:t>
            </a:r>
            <a:r>
              <a:rPr lang="sv-SE" sz="2600" dirty="0" smtClean="0"/>
              <a:t>arbetsmarknaderna </a:t>
            </a:r>
            <a:r>
              <a:rPr lang="sv-SE" sz="2600" dirty="0"/>
              <a:t>knyts ihop (regionförstoring</a:t>
            </a:r>
            <a:r>
              <a:rPr lang="sv-SE" sz="2600" dirty="0" smtClean="0"/>
              <a:t>) </a:t>
            </a:r>
          </a:p>
          <a:p>
            <a:r>
              <a:rPr lang="sv-SE" sz="2600" dirty="0" smtClean="0"/>
              <a:t>Kommunernas </a:t>
            </a:r>
            <a:r>
              <a:rPr lang="sv-SE" sz="2600" dirty="0"/>
              <a:t>(</a:t>
            </a:r>
            <a:r>
              <a:rPr lang="sv-SE" sz="2600" dirty="0" smtClean="0"/>
              <a:t>stationssamhällenas) </a:t>
            </a:r>
            <a:r>
              <a:rPr lang="sv-SE" sz="2600" dirty="0"/>
              <a:t>attraktion ökar, </a:t>
            </a:r>
            <a:r>
              <a:rPr lang="sv-SE" sz="2600" dirty="0" smtClean="0"/>
              <a:t>en viktig förutsättning </a:t>
            </a:r>
            <a:r>
              <a:rPr lang="sv-SE" sz="2600" dirty="0"/>
              <a:t>för ökat bostadsbyggande.</a:t>
            </a:r>
          </a:p>
        </p:txBody>
      </p:sp>
      <p:pic>
        <p:nvPicPr>
          <p:cNvPr id="5" name="Platshållare för innehåll 4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9004" y="4581128"/>
            <a:ext cx="2279469" cy="1306702"/>
          </a:xfr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642" y="1375137"/>
            <a:ext cx="3121521" cy="20810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3156919"/>
            <a:ext cx="2212851" cy="176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705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Presentation 2014-02-17 Regeringskanslie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nehåll">
  <a:themeElements>
    <a:clrScheme name="SJ">
      <a:dk1>
        <a:srgbClr val="252525"/>
      </a:dk1>
      <a:lt1>
        <a:srgbClr val="FFFFFF"/>
      </a:lt1>
      <a:dk2>
        <a:srgbClr val="696B57"/>
      </a:dk2>
      <a:lt2>
        <a:srgbClr val="E3E100"/>
      </a:lt2>
      <a:accent1>
        <a:srgbClr val="1FA845"/>
      </a:accent1>
      <a:accent2>
        <a:srgbClr val="62DB5A"/>
      </a:accent2>
      <a:accent3>
        <a:srgbClr val="00749A"/>
      </a:accent3>
      <a:accent4>
        <a:srgbClr val="DF5A00"/>
      </a:accent4>
      <a:accent5>
        <a:srgbClr val="3BCCE8"/>
      </a:accent5>
      <a:accent6>
        <a:srgbClr val="9B7400"/>
      </a:accent6>
      <a:hlink>
        <a:srgbClr val="00749A"/>
      </a:hlink>
      <a:folHlink>
        <a:srgbClr val="00749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Innehåll">
  <a:themeElements>
    <a:clrScheme name="SJ">
      <a:dk1>
        <a:srgbClr val="252525"/>
      </a:dk1>
      <a:lt1>
        <a:srgbClr val="FFFFFF"/>
      </a:lt1>
      <a:dk2>
        <a:srgbClr val="696B57"/>
      </a:dk2>
      <a:lt2>
        <a:srgbClr val="E3E100"/>
      </a:lt2>
      <a:accent1>
        <a:srgbClr val="1FA845"/>
      </a:accent1>
      <a:accent2>
        <a:srgbClr val="62DB5A"/>
      </a:accent2>
      <a:accent3>
        <a:srgbClr val="00749A"/>
      </a:accent3>
      <a:accent4>
        <a:srgbClr val="DF5A00"/>
      </a:accent4>
      <a:accent5>
        <a:srgbClr val="3BCCE8"/>
      </a:accent5>
      <a:accent6>
        <a:srgbClr val="9B7400"/>
      </a:accent6>
      <a:hlink>
        <a:srgbClr val="00749A"/>
      </a:hlink>
      <a:folHlink>
        <a:srgbClr val="00749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Innehåll">
  <a:themeElements>
    <a:clrScheme name="SJ">
      <a:dk1>
        <a:srgbClr val="252525"/>
      </a:dk1>
      <a:lt1>
        <a:srgbClr val="FFFFFF"/>
      </a:lt1>
      <a:dk2>
        <a:srgbClr val="696B57"/>
      </a:dk2>
      <a:lt2>
        <a:srgbClr val="E3E100"/>
      </a:lt2>
      <a:accent1>
        <a:srgbClr val="1FA845"/>
      </a:accent1>
      <a:accent2>
        <a:srgbClr val="62DB5A"/>
      </a:accent2>
      <a:accent3>
        <a:srgbClr val="00749A"/>
      </a:accent3>
      <a:accent4>
        <a:srgbClr val="DF5A00"/>
      </a:accent4>
      <a:accent5>
        <a:srgbClr val="3BCCE8"/>
      </a:accent5>
      <a:accent6>
        <a:srgbClr val="9B7400"/>
      </a:accent6>
      <a:hlink>
        <a:srgbClr val="00749A"/>
      </a:hlink>
      <a:folHlink>
        <a:srgbClr val="00749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SJ_CF_JSD002">
  <a:themeElements>
    <a:clrScheme name="Current">
      <a:dk1>
        <a:srgbClr val="262626"/>
      </a:dk1>
      <a:lt1>
        <a:srgbClr val="FFFFFF"/>
      </a:lt1>
      <a:dk2>
        <a:srgbClr val="1FA845"/>
      </a:dk2>
      <a:lt2>
        <a:srgbClr val="3BCCE8"/>
      </a:lt2>
      <a:accent1>
        <a:srgbClr val="DDDDDD"/>
      </a:accent1>
      <a:accent2>
        <a:srgbClr val="30D63D"/>
      </a:accent2>
      <a:accent3>
        <a:srgbClr val="1FA845"/>
      </a:accent3>
      <a:accent4>
        <a:srgbClr val="C45417"/>
      </a:accent4>
      <a:accent5>
        <a:srgbClr val="2B7DA6"/>
      </a:accent5>
      <a:accent6>
        <a:srgbClr val="808080"/>
      </a:accent6>
      <a:hlink>
        <a:srgbClr val="1FA845"/>
      </a:hlink>
      <a:folHlink>
        <a:srgbClr val="C454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62626"/>
        </a:dk1>
        <a:lt1>
          <a:srgbClr val="FFFFFF"/>
        </a:lt1>
        <a:dk2>
          <a:srgbClr val="1FA845"/>
        </a:dk2>
        <a:lt2>
          <a:srgbClr val="3BCCE8"/>
        </a:lt2>
        <a:accent1>
          <a:srgbClr val="DDDDDD"/>
        </a:accent1>
        <a:accent2>
          <a:srgbClr val="30D63D"/>
        </a:accent2>
        <a:accent3>
          <a:srgbClr val="1FA845"/>
        </a:accent3>
        <a:accent4>
          <a:srgbClr val="C45417"/>
        </a:accent4>
        <a:accent5>
          <a:srgbClr val="2B7DA6"/>
        </a:accent5>
        <a:accent6>
          <a:srgbClr val="808080"/>
        </a:accent6>
        <a:hlink>
          <a:srgbClr val="1FA845"/>
        </a:hlink>
        <a:folHlink>
          <a:srgbClr val="C4541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Anpassad formgiv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4F1C43FF-EDEE-4BA1-ADEC-32B56CE1542B}" vid="{731CDCDA-CC64-4996-983C-226DBC52A044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2014-02-17 Regeringskansliet</Template>
  <TotalTime>27786</TotalTime>
  <Words>323</Words>
  <Application>Microsoft Office PowerPoint</Application>
  <PresentationFormat>Bildspel på skärmen (4:3)</PresentationFormat>
  <Paragraphs>64</Paragraphs>
  <Slides>12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26" baseType="lpstr">
      <vt:lpstr>Arial</vt:lpstr>
      <vt:lpstr>Calibri</vt:lpstr>
      <vt:lpstr>Garamond</vt:lpstr>
      <vt:lpstr>Lucida Grande</vt:lpstr>
      <vt:lpstr>Lucida Sans</vt:lpstr>
      <vt:lpstr>Wingdings</vt:lpstr>
      <vt:lpstr>ヒラギノ角ゴ Pro W3</vt:lpstr>
      <vt:lpstr>Presentation 2014-02-17 Regeringskansliet</vt:lpstr>
      <vt:lpstr>Innehåll</vt:lpstr>
      <vt:lpstr>1_Innehåll</vt:lpstr>
      <vt:lpstr>3_Innehåll</vt:lpstr>
      <vt:lpstr>1_SJ_CF_JSD002</vt:lpstr>
      <vt:lpstr>3_Anpassad formgivning</vt:lpstr>
      <vt:lpstr>think-cell Slide</vt:lpstr>
      <vt:lpstr>BYGG BORT! Flaskhalsen Göteborg-Alingsås  på Västra stambanan </vt:lpstr>
      <vt:lpstr>SVERIGES VÄRSTA FLASKHALS</vt:lpstr>
      <vt:lpstr>MÅLBILD 2030</vt:lpstr>
      <vt:lpstr>TRAFIKNYTTA</vt:lpstr>
      <vt:lpstr>SAMHÄLLSEKONOMI</vt:lpstr>
      <vt:lpstr>ROBUST, PUNKTLIG OCH SÄKER</vt:lpstr>
      <vt:lpstr>VÄSTRA STAMBANAN 2.0</vt:lpstr>
      <vt:lpstr>STÄRKER GODSTRAFIKENS PULSÅDER</vt:lpstr>
      <vt:lpstr>UTVECKLAR REGIONEN</vt:lpstr>
      <vt:lpstr>INVESTERA I NYA SPÅR  – under 2020-talet</vt:lpstr>
      <vt:lpstr>KOSTNADSEFFEKTIVT BYGGANDE</vt:lpstr>
      <vt:lpstr>Kommuner i samverkan för Västra stambanan</vt:lpstr>
    </vt:vector>
  </TitlesOfParts>
  <Company>Skövde Kommu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d 1</dc:title>
  <dc:creator>jabr1223</dc:creator>
  <cp:lastModifiedBy>Lennart Wassenius</cp:lastModifiedBy>
  <cp:revision>501</cp:revision>
  <cp:lastPrinted>2016-03-09T06:22:55Z</cp:lastPrinted>
  <dcterms:created xsi:type="dcterms:W3CDTF">2014-06-16T12:41:38Z</dcterms:created>
  <dcterms:modified xsi:type="dcterms:W3CDTF">2019-02-21T13:33:03Z</dcterms:modified>
</cp:coreProperties>
</file>